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3875" autoAdjust="0"/>
  </p:normalViewPr>
  <p:slideViewPr>
    <p:cSldViewPr snapToGrid="0" snapToObjects="1">
      <p:cViewPr varScale="1">
        <p:scale>
          <a:sx n="106" d="100"/>
          <a:sy n="106" d="100"/>
        </p:scale>
        <p:origin x="100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907811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fr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Affiches d’étiquette dans le milieu de travail – À VENI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MAI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canada wordmark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GCworkplace-FullColour-FR.png">
            <a:extLst>
              <a:ext uri="{FF2B5EF4-FFF2-40B4-BE49-F238E27FC236}">
                <a16:creationId xmlns:a16="http://schemas.microsoft.com/office/drawing/2014/main" id="{DE3A470F-1795-2E7C-03F8-1EC249F7AA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1" name="Picture 10" descr="goc_fip_2c_f.png">
            <a:extLst>
              <a:ext uri="{FF2B5EF4-FFF2-40B4-BE49-F238E27FC236}">
                <a16:creationId xmlns:a16="http://schemas.microsoft.com/office/drawing/2014/main" id="{C1E43B71-3699-E07A-8655-39BAF6E03A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0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2</TotalTime>
  <Words>16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Affiches d’étiquette dans le milieu de travail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40</cp:revision>
  <dcterms:created xsi:type="dcterms:W3CDTF">2018-01-23T15:59:12Z</dcterms:created>
  <dcterms:modified xsi:type="dcterms:W3CDTF">2023-05-08T11:44:55Z</dcterms:modified>
</cp:coreProperties>
</file>